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375779" r:id="rId13"/>
    <p:sldId id="2147375739" r:id="rId14"/>
    <p:sldId id="2147375892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375779"/>
            <p14:sldId id="2147375739"/>
            <p14:sldId id="2147375892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AFF"/>
    <a:srgbClr val="FF0000"/>
    <a:srgbClr val="7197FF"/>
    <a:srgbClr val="C30B3E"/>
    <a:srgbClr val="AAC1FF"/>
    <a:srgbClr val="43C7A1"/>
    <a:srgbClr val="007770"/>
    <a:srgbClr val="AEE7D7"/>
    <a:srgbClr val="F0C7D7"/>
    <a:srgbClr val="FDE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056"/>
    <p:restoredTop sz="94724"/>
  </p:normalViewPr>
  <p:slideViewPr>
    <p:cSldViewPr snapToGrid="0" showGuides="1">
      <p:cViewPr varScale="1">
        <p:scale>
          <a:sx n="135" d="100"/>
          <a:sy n="135" d="100"/>
        </p:scale>
        <p:origin x="22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22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2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2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2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9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0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slideLayout" Target="../slideLayouts/slideLayout20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18" Type="http://schemas.openxmlformats.org/officeDocument/2006/relationships/tags" Target="../tags/tag128.xml"/><Relationship Id="rId134" Type="http://schemas.openxmlformats.org/officeDocument/2006/relationships/tags" Target="../tags/tag144.xml"/><Relationship Id="rId139" Type="http://schemas.openxmlformats.org/officeDocument/2006/relationships/tags" Target="../tags/tag14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50" Type="http://schemas.openxmlformats.org/officeDocument/2006/relationships/oleObject" Target="../embeddings/oleObject10.bin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tags" Target="../tags/tag118.xml"/><Relationship Id="rId124" Type="http://schemas.openxmlformats.org/officeDocument/2006/relationships/tags" Target="../tags/tag134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45" Type="http://schemas.openxmlformats.org/officeDocument/2006/relationships/tags" Target="../tags/tag155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51" Type="http://schemas.openxmlformats.org/officeDocument/2006/relationships/image" Target="../media/image10.emf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035876-D066-C30D-A83F-0B392CC17F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943" y="214941"/>
            <a:ext cx="2501401" cy="81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Melinda Braun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Project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Melinda.braun@hypatos.ai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latin typeface="Open Sauce One" pitchFamily="2" charset="0"/>
              </a:rPr>
              <a:t>uli.erxleben@hypatos.ai</a:t>
            </a:r>
            <a:br>
              <a:rPr lang="de-DE" sz="1200" dirty="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AAE5803-FE03-549A-90DA-0FC17714EB97}"/>
              </a:ext>
            </a:extLst>
          </p:cNvPr>
          <p:cNvSpPr/>
          <p:nvPr/>
        </p:nvSpPr>
        <p:spPr>
          <a:xfrm>
            <a:off x="3217210" y="3660163"/>
            <a:ext cx="2341283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anail Delchev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olu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 pitchFamily="2" charset="0"/>
              </a:rPr>
              <a:t>danail.delchev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hypatos.ai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126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925521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FIE SAP DEV Team onboarding for integration implementation. </a:t>
                      </a:r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FIE 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FIE to revisit Integration and Project Timelines based on resource onboarding. Dependent on A001. 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04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0" imgW="395" imgH="394" progId="TCLayout.ActiveDocument.1">
                  <p:embed/>
                </p:oleObj>
              </mc:Choice>
              <mc:Fallback>
                <p:oleObj name="think-cell Slide" r:id="rId150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February 2025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9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o L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8" y="1403350"/>
            <a:ext cx="10922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8267B3E5-9CCA-EB1A-A0A9-1F78650A68F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646738" y="1403350"/>
            <a:ext cx="10572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6C192-ED95-4DD7-AC40-45A36AA2E9B4}" type="datetime'''''''''''''''''''''''''Nov''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93632231-2271-C6C4-FC4A-6AB79B1B20B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6704012" y="1403350"/>
            <a:ext cx="10937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A1AC3-EE9E-4AEA-A8D2-E1F93833E2CB}" type="datetime'''''''''''D''''''''''''''''''''''e''''''''''''''''''''c'''''''">
              <a:rPr lang="en-GB" altLang="en-US" sz="1400" b="1" smtClean="0"/>
              <a:pPr/>
              <a:t>Dec</a:t>
            </a:fld>
            <a:endParaRPr lang="en-GB" sz="1400" b="1" dirty="0"/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B54AA716-3180-79A4-85E8-9EBDAEAB855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797800" y="1403350"/>
            <a:ext cx="10922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44695D-4AB3-4D9B-BA8A-87EBC4060AE7}" type="datetime'''''''''''''''''''''''''''''''''''''''''''J''''a''''''''n'''">
              <a:rPr lang="en-GB" altLang="en-US" sz="1400" b="1" smtClean="0"/>
              <a:pPr/>
              <a:t>Jan</a:t>
            </a:fld>
            <a:endParaRPr lang="en-GB" sz="1400" b="1" dirty="0"/>
          </a:p>
        </p:txBody>
      </p:sp>
      <p:sp>
        <p:nvSpPr>
          <p:cNvPr id="54" name="Szöveg helye 2">
            <a:extLst>
              <a:ext uri="{FF2B5EF4-FFF2-40B4-BE49-F238E27FC236}">
                <a16:creationId xmlns:a16="http://schemas.microsoft.com/office/drawing/2014/main" id="{746CBE88-2F03-0190-8466-86AEF5C5573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890000" y="1403350"/>
            <a:ext cx="9874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FD4008-81D7-49FC-9982-79D18999EC3D}" type="datetime'''F''''''''''''''''''''''''e''''b'">
              <a:rPr lang="en-GB" altLang="en-US" sz="1400" b="1" smtClean="0"/>
              <a:pPr/>
              <a:t>Feb</a:t>
            </a:fld>
            <a:endParaRPr lang="en-GB" sz="1400" b="1" dirty="0"/>
          </a:p>
        </p:txBody>
      </p:sp>
      <p:sp>
        <p:nvSpPr>
          <p:cNvPr id="55" name="Szöveg helye 2">
            <a:extLst>
              <a:ext uri="{FF2B5EF4-FFF2-40B4-BE49-F238E27FC236}">
                <a16:creationId xmlns:a16="http://schemas.microsoft.com/office/drawing/2014/main" id="{6A2101D4-60CB-0A23-8707-8A2AA644106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877425" y="1403350"/>
            <a:ext cx="10922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359C1-9CC7-4313-A253-5F45C99CDFAD}" type="datetime'''''''''''''''''''''''''M''''a''''''''''''''''''''''''r'''">
              <a:rPr lang="en-GB" altLang="en-US" sz="1400" b="1" smtClean="0"/>
              <a:pPr/>
              <a:t>Mar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54537" y="1749425"/>
            <a:ext cx="2111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765675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013325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259388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505449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034F7BE8-F97D-71F1-5F4C-528429A1778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753100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AC35FC-B85E-4383-B2AF-4510AE08E51A}" type="datetime'''''''''''''''''45''''''''''''''''''''''''''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990DDDF4-E9D9-634A-3CE7-58C5E8C0151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999162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A06C-E77B-43D5-AD2E-1FAB5D79E641}" type="datetime'''''4''''6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9" name="Szöveg helye 2">
            <a:extLst>
              <a:ext uri="{FF2B5EF4-FFF2-40B4-BE49-F238E27FC236}">
                <a16:creationId xmlns:a16="http://schemas.microsoft.com/office/drawing/2014/main" id="{D15BF29A-9087-21C0-E21D-3BE30312639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246813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EC84B-8659-40E2-BCAE-794A80FCE9B0}" type="datetime'''''''4''''''''''''''''''''''''''''''''''''''''''7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A58E6D1F-0377-0006-14ED-ED9F5F942FF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492874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7D2B-8D0A-452D-859B-015EC67DCACC}" type="datetime'''''''''''''''''''4''''''''8''''''''''''''''''''''''''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03739FEA-AF4C-68DE-D341-4287D747947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6740525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7F36D0-B95B-46F5-A9C8-5A574B2F1F1F}" type="datetime'''''''''''''''''''''''''''4''''''''9'''''''''''''''''">
              <a:rPr lang="en-GB" altLang="en-US" sz="1400" b="1" smtClean="0"/>
              <a:pPr/>
              <a:t>49</a:t>
            </a:fld>
            <a:endParaRPr lang="en-GB" sz="1400" b="1" dirty="0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36A2A6EC-2990-10AA-6360-60292F2887BC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6986588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E3F23A-6532-48CE-9E22-795978D062EB}" type="datetime'''''5''''''''''''''''''''0'''''''''''''''''">
              <a:rPr lang="en-GB" altLang="en-US" sz="1400" b="1" smtClean="0"/>
              <a:pPr/>
              <a:t>50</a:t>
            </a:fld>
            <a:endParaRPr lang="en-GB" sz="1400" b="1" dirty="0"/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2A897C06-A192-4505-56B8-52E7BECE969C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232649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D0792-D1B3-42A2-AFDC-1B5F7DA8D3B7}" type="datetime'''''''''''''5''''''''''''1'''''''''''''''''''''''''''''''">
              <a:rPr lang="en-GB" altLang="en-US" sz="1400" b="1" smtClean="0"/>
              <a:pPr/>
              <a:t>51</a:t>
            </a:fld>
            <a:endParaRPr lang="en-GB" sz="1400" b="1" dirty="0"/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C4AA7D0B-BA55-7362-23D5-B5865F810DA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480300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BB6A3E-A20A-48FA-87A0-5E73662178C1}" type="datetime'''''''''''''''''''5''''''''''''''''''2'''''''''''''''''''">
              <a:rPr lang="en-GB" altLang="en-US" sz="1400" b="1" smtClean="0"/>
              <a:pPr/>
              <a:t>52</a:t>
            </a:fld>
            <a:endParaRPr lang="en-GB" sz="1400" b="1" dirty="0"/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49F70963-E0F0-BB07-C117-49151A59F62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726362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F03F7E-7362-40A0-A882-D529B1BF23D1}" type="datetime'''''''''''''''''''0''''''''''''''''''''''''''1'''''''''">
              <a:rPr lang="en-GB" altLang="en-US" sz="1400" b="1" smtClean="0"/>
              <a:pPr/>
              <a:t>01</a:t>
            </a:fld>
            <a:endParaRPr lang="en-GB" sz="1400" b="1" dirty="0"/>
          </a:p>
        </p:txBody>
      </p:sp>
      <p:sp>
        <p:nvSpPr>
          <p:cNvPr id="28" name="Szöveg helye 2">
            <a:extLst>
              <a:ext uri="{FF2B5EF4-FFF2-40B4-BE49-F238E27FC236}">
                <a16:creationId xmlns:a16="http://schemas.microsoft.com/office/drawing/2014/main" id="{D9E3F919-A3AE-9FAA-2780-5E773F5632BE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974013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AC88-0D83-49FC-AAF0-BDB664015A58}" type="datetime'''''''''''''''''''''''''''''''0''''2'''''''''''">
              <a:rPr lang="en-GB" altLang="en-US" sz="1400" b="1" smtClean="0"/>
              <a:pPr/>
              <a:t>02</a:t>
            </a:fld>
            <a:endParaRPr lang="en-GB" sz="1400" b="1" dirty="0"/>
          </a:p>
        </p:txBody>
      </p:sp>
      <p:sp>
        <p:nvSpPr>
          <p:cNvPr id="29" name="Szöveg helye 2">
            <a:extLst>
              <a:ext uri="{FF2B5EF4-FFF2-40B4-BE49-F238E27FC236}">
                <a16:creationId xmlns:a16="http://schemas.microsoft.com/office/drawing/2014/main" id="{D7E54227-0F53-9BF6-7886-A9C07992B985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8220074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9F94FE-0870-4A40-9583-1B7ABB06AC57}" type="datetime'''''''''''''''''''''''''''0''''3'''''''''''''''''''''''''''''">
              <a:rPr lang="en-GB" altLang="en-US" sz="1400" b="1" smtClean="0"/>
              <a:pPr/>
              <a:t>03</a:t>
            </a:fld>
            <a:endParaRPr lang="en-GB" sz="1400" b="1" dirty="0"/>
          </a:p>
        </p:txBody>
      </p:sp>
      <p:sp>
        <p:nvSpPr>
          <p:cNvPr id="30" name="Szöveg helye 2">
            <a:extLst>
              <a:ext uri="{FF2B5EF4-FFF2-40B4-BE49-F238E27FC236}">
                <a16:creationId xmlns:a16="http://schemas.microsoft.com/office/drawing/2014/main" id="{A4FE8AC9-29DA-1236-BD7E-B6448E51FCAD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8467725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153E53-7EFC-4A6C-A98C-145A7E51F898}" type="datetime'''0''''''''''''''''''''''''''''''''''''''''''''''''4'''''''">
              <a:rPr lang="en-GB" altLang="en-US" sz="1400" b="1" smtClean="0"/>
              <a:pPr/>
              <a:t>04</a:t>
            </a:fld>
            <a:endParaRPr lang="en-GB" sz="1400" b="1" dirty="0"/>
          </a:p>
        </p:txBody>
      </p:sp>
      <p:sp>
        <p:nvSpPr>
          <p:cNvPr id="31" name="Szöveg helye 2">
            <a:extLst>
              <a:ext uri="{FF2B5EF4-FFF2-40B4-BE49-F238E27FC236}">
                <a16:creationId xmlns:a16="http://schemas.microsoft.com/office/drawing/2014/main" id="{B435F859-1C09-2A97-130E-44E94574477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8713788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CEAD80-EA6F-4123-8191-27AB98CB980A}" type="datetime'''''''''0''''''''''''''''''''''''5'''''''''''">
              <a:rPr lang="en-GB" altLang="en-US" sz="1400" b="1" smtClean="0"/>
              <a:pPr/>
              <a:t>05</a:t>
            </a:fld>
            <a:endParaRPr lang="en-GB" sz="1400" b="1" dirty="0"/>
          </a:p>
        </p:txBody>
      </p:sp>
      <p:sp>
        <p:nvSpPr>
          <p:cNvPr id="33" name="Szöveg helye 2">
            <a:extLst>
              <a:ext uri="{FF2B5EF4-FFF2-40B4-BE49-F238E27FC236}">
                <a16:creationId xmlns:a16="http://schemas.microsoft.com/office/drawing/2014/main" id="{79721BA5-14DE-6B7C-8BCB-DEE3DE399A0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959850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17BE2-BCE5-4CA1-91ED-736F3B9D9E27}" type="datetime'''''''''''''0''6'''''''''''''''''''''">
              <a:rPr lang="en-GB" altLang="en-US" sz="1400" b="1" smtClean="0"/>
              <a:pPr/>
              <a:t>06</a:t>
            </a:fld>
            <a:endParaRPr lang="en-GB" sz="1400" b="1" dirty="0"/>
          </a:p>
        </p:txBody>
      </p: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F57930CC-1BC9-8E33-B050-EF0B7E406266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9207500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F5624B-AB54-4DF8-B270-3B918B36C26C}" type="datetime'''''''''''''0''''''''''''''''''''''''''''''''7'''''''''''">
              <a:rPr lang="en-GB" altLang="en-US" sz="1400" b="1" smtClean="0"/>
              <a:pPr/>
              <a:t>07</a:t>
            </a:fld>
            <a:endParaRPr lang="en-GB" sz="1400" b="1" dirty="0"/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51927895-E1BE-7595-A1FA-393C718CA120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453562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B843DE-694D-4F9A-8D32-25C731525BC2}" type="datetime'''''''''''''''''''''''08'''''''''''''">
              <a:rPr lang="en-GB" altLang="en-US" sz="1400" b="1" smtClean="0"/>
              <a:pPr/>
              <a:t>08</a:t>
            </a:fld>
            <a:endParaRPr lang="en-GB" sz="1400" b="1" dirty="0"/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187B59B3-C1A5-1D53-CF14-BFBD5F4FC127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9701213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387B11-F1E4-4392-88D1-AFEE24C5550A}" type="datetime'''''''''''''''''''09'''''''''''">
              <a:rPr lang="en-GB" altLang="en-US" sz="1400" b="1" smtClean="0"/>
              <a:pPr/>
              <a:t>09</a:t>
            </a:fld>
            <a:endParaRPr lang="en-GB" sz="1400" b="1" dirty="0"/>
          </a:p>
        </p:txBody>
      </p:sp>
      <p:sp>
        <p:nvSpPr>
          <p:cNvPr id="41" name="Szöveg helye 2">
            <a:extLst>
              <a:ext uri="{FF2B5EF4-FFF2-40B4-BE49-F238E27FC236}">
                <a16:creationId xmlns:a16="http://schemas.microsoft.com/office/drawing/2014/main" id="{D3F37FB4-772E-D2AD-C550-3603F4F6F7A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9947275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504D1-8A35-44F5-8011-B1541FB438AF}" type="datetime'''''1''''''''''''''0'''''''''''''''''''''''''''''">
              <a:rPr lang="en-GB" altLang="en-US" sz="1400" b="1" smtClean="0"/>
              <a:pPr/>
              <a:t>10</a:t>
            </a:fld>
            <a:endParaRPr lang="en-GB" sz="1400" b="1" dirty="0"/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9056BC71-9E23-68DC-1180-0A89BEAB7A5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0194925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BB4AF6-B0B1-4909-938C-47D3BD3CD491}" type="datetime'''''1''''''''''''''''''''''''''''''''''''''1'''''''''''''''">
              <a:rPr lang="en-GB" altLang="en-US" sz="1400" b="1" smtClean="0"/>
              <a:pPr/>
              <a:t>11</a:t>
            </a:fld>
            <a:endParaRPr lang="en-GB" sz="1400" b="1" dirty="0"/>
          </a:p>
        </p:txBody>
      </p:sp>
      <p:sp>
        <p:nvSpPr>
          <p:cNvPr id="43" name="Szöveg helye 2">
            <a:extLst>
              <a:ext uri="{FF2B5EF4-FFF2-40B4-BE49-F238E27FC236}">
                <a16:creationId xmlns:a16="http://schemas.microsoft.com/office/drawing/2014/main" id="{EAD2633B-8345-2F70-AEC5-1CC5C819F614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10440988" y="1749425"/>
            <a:ext cx="2460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788E49-8E4B-4F8F-9F12-BD5D3CCD6D9F}" type="datetime'''''''''''1''''''''''''''''2'''''''''''''''''''''''''''''''">
              <a:rPr lang="en-GB" altLang="en-US" sz="1400" b="1" smtClean="0"/>
              <a:pPr/>
              <a:t>12</a:t>
            </a:fld>
            <a:endParaRPr lang="en-GB" sz="1400" b="1" dirty="0"/>
          </a:p>
        </p:txBody>
      </p:sp>
      <p:sp>
        <p:nvSpPr>
          <p:cNvPr id="45" name="Szöveg helye 2">
            <a:extLst>
              <a:ext uri="{FF2B5EF4-FFF2-40B4-BE49-F238E27FC236}">
                <a16:creationId xmlns:a16="http://schemas.microsoft.com/office/drawing/2014/main" id="{48208460-681C-FCF1-3DAD-A158C0843925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10687049" y="1749425"/>
            <a:ext cx="24765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FC5CE1-0841-405F-9F32-920F271BFF90}" type="datetime'''''''''''''''''''''''''''''''''''1''''''''3'''">
              <a:rPr lang="en-GB" altLang="en-US" sz="1400" b="1" smtClean="0"/>
              <a:pPr/>
              <a:t>13</a:t>
            </a:fld>
            <a:endParaRPr lang="en-GB" sz="1400" b="1" dirty="0"/>
          </a:p>
        </p:txBody>
      </p: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8ED60572-57F2-DA63-3C3F-448BE7CF8EE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0934700" y="1749425"/>
            <a:ext cx="349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89B527D-E01C-3F2D-27B5-D92CBCD4861D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98774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A6F1B0C-71DF-3913-1549-248F57E7FF4A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88900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7978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67040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56467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9F2B89A-DB20-7605-4742-D948A6A28E67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9740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4677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52593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340C917D-B4A1-D89E-12DD-31E89C012ED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50133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55054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0" name="Straight Connector 1219">
            <a:extLst>
              <a:ext uri="{FF2B5EF4-FFF2-40B4-BE49-F238E27FC236}">
                <a16:creationId xmlns:a16="http://schemas.microsoft.com/office/drawing/2014/main" id="{3D2E3342-1EED-3380-F271-01932BB8C4F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57531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999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2468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4928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D1DDC5F-BB6D-B544-C664-9E591FF096DD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09347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67405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5" name="Straight Connector 1224">
            <a:extLst>
              <a:ext uri="{FF2B5EF4-FFF2-40B4-BE49-F238E27FC236}">
                <a16:creationId xmlns:a16="http://schemas.microsoft.com/office/drawing/2014/main" id="{648696FB-95AB-6FC9-8BB8-BA96C701271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69865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6" name="Straight Connector 1225">
            <a:extLst>
              <a:ext uri="{FF2B5EF4-FFF2-40B4-BE49-F238E27FC236}">
                <a16:creationId xmlns:a16="http://schemas.microsoft.com/office/drawing/2014/main" id="{760CFF42-45B9-724B-F719-3DD4B1405FC0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2326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74803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77263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8" name="Straight Connector 1507">
            <a:extLst>
              <a:ext uri="{FF2B5EF4-FFF2-40B4-BE49-F238E27FC236}">
                <a16:creationId xmlns:a16="http://schemas.microsoft.com/office/drawing/2014/main" id="{0A971951-07D5-1236-9520-F684765F1106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82200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87137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8D4D7DA-F0C3-AE97-87B4-55A91E572E37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89598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14380AD-151D-979E-A7BB-06607402C48E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106870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6CA546F-4BD8-3234-CCE4-BADC3D38D997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4409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7539A6C-6E56-CF71-1A24-6CC224F007F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1949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72D9CF1-5F75-B619-F610-BE00A79FD7CD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99472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DAE0AFE-3399-5EE1-807A-A501E0F7F19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92075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6323DAE-B8E1-B4BC-6D58-B02810F7279A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97012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7DC7A6E-317A-B036-760D-2DDE18AD8795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94535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808163" y="240823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808163" y="46037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808163" y="42894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808163" y="49164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808163" y="33496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808163" y="27225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808163" y="36623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808163" y="30353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1808163" y="39766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Straight Connector 1658">
            <a:extLst>
              <a:ext uri="{FF2B5EF4-FFF2-40B4-BE49-F238E27FC236}">
                <a16:creationId xmlns:a16="http://schemas.microsoft.com/office/drawing/2014/main" id="{CC7F6DD5-F9BB-0B2D-4604-2837B9E053B1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5294313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5822950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480060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086125F5-260E-CD37-F096-2F406ED68776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5294313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480060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4765675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>
            <a:off x="635158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480060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4800599" y="2840038"/>
            <a:ext cx="6350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5964238" y="3467100"/>
            <a:ext cx="7397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8" name="Rectangle 1527">
            <a:extLst>
              <a:ext uri="{FF2B5EF4-FFF2-40B4-BE49-F238E27FC236}">
                <a16:creationId xmlns:a16="http://schemas.microsoft.com/office/drawing/2014/main" id="{85D61E24-4083-497F-3230-49C7B491F366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5964238" y="4094163"/>
            <a:ext cx="7397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8748713" y="5033963"/>
            <a:ext cx="10572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832725" y="4721225"/>
            <a:ext cx="9159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4765674" y="2525713"/>
            <a:ext cx="39830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6704013" y="4406900"/>
            <a:ext cx="11287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5435600" y="3152775"/>
            <a:ext cx="528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964238" y="3779838"/>
            <a:ext cx="4937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765675" y="2212975"/>
            <a:ext cx="39131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629443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5765800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8" name="Diamond 1657">
            <a:extLst>
              <a:ext uri="{FF2B5EF4-FFF2-40B4-BE49-F238E27FC236}">
                <a16:creationId xmlns:a16="http://schemas.microsoft.com/office/drawing/2014/main" id="{CF58951D-DAFD-585D-AB07-A3B36D516262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5237163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49" name="Straight Connector 1048">
            <a:extLst>
              <a:ext uri="{FF2B5EF4-FFF2-40B4-BE49-F238E27FC236}">
                <a16:creationId xmlns:a16="http://schemas.microsoft.com/office/drawing/2014/main" id="{8DDF1A39-282A-E8E9-07E3-7CAEF121082D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gray">
          <a:xfrm>
            <a:off x="5237163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474345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474345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44" name="Diamond 1643">
            <a:extLst>
              <a:ext uri="{FF2B5EF4-FFF2-40B4-BE49-F238E27FC236}">
                <a16:creationId xmlns:a16="http://schemas.microsoft.com/office/drawing/2014/main" id="{259D24C5-BC6A-7385-0643-4A3A318BD64A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8691563" y="471328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474345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106"/>
            </p:custDataLst>
          </p:nvPr>
        </p:nvSpPr>
        <p:spPr bwMode="gray">
          <a:xfrm>
            <a:off x="4708525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107"/>
            </p:custDataLst>
          </p:nvPr>
        </p:nvSpPr>
        <p:spPr bwMode="gray">
          <a:xfrm>
            <a:off x="7775575" y="4713288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8621713" y="2205038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7775575" y="439896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5907088" y="31448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5378450" y="283210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92AD09E-2767-9A8F-7368-AE56C453F8A6}"/>
              </a:ext>
            </a:extLst>
          </p:cNvPr>
          <p:cNvCxnSpPr>
            <a:cxnSpLocks/>
          </p:cNvCxnSpPr>
          <p:nvPr>
            <p:custDataLst>
              <p:tags r:id="rId112"/>
            </p:custDataLst>
          </p:nvPr>
        </p:nvCxnSpPr>
        <p:spPr bwMode="gray">
          <a:xfrm flipH="1" flipV="1">
            <a:off x="4800600" y="5481638"/>
            <a:ext cx="195263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7DD795A-B5A9-889B-213D-430B39258DF4}"/>
              </a:ext>
            </a:extLst>
          </p:cNvPr>
          <p:cNvCxnSpPr>
            <a:cxnSpLocks/>
          </p:cNvCxnSpPr>
          <p:nvPr>
            <p:custDataLst>
              <p:tags r:id="rId113"/>
            </p:custDataLst>
          </p:nvPr>
        </p:nvCxnSpPr>
        <p:spPr bwMode="gray">
          <a:xfrm flipV="1">
            <a:off x="4554538" y="5481638"/>
            <a:ext cx="21113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264F967-9A96-7BED-12B3-A65202AD7715}"/>
              </a:ext>
            </a:extLst>
          </p:cNvPr>
          <p:cNvCxnSpPr>
            <a:cxnSpLocks/>
          </p:cNvCxnSpPr>
          <p:nvPr>
            <p:custDataLst>
              <p:tags r:id="rId114"/>
            </p:custDataLst>
          </p:nvPr>
        </p:nvCxnSpPr>
        <p:spPr bwMode="gray">
          <a:xfrm flipV="1">
            <a:off x="4775200" y="5481638"/>
            <a:ext cx="254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07F7E-4887-DADE-85CD-B8D04515C432}"/>
              </a:ext>
            </a:extLst>
          </p:cNvPr>
          <p:cNvCxnSpPr>
            <a:cxnSpLocks/>
          </p:cNvCxnSpPr>
          <p:nvPr>
            <p:custDataLst>
              <p:tags r:id="rId115"/>
            </p:custDataLst>
          </p:nvPr>
        </p:nvCxnSpPr>
        <p:spPr bwMode="gray">
          <a:xfrm flipH="1" flipV="1">
            <a:off x="4800600" y="5481638"/>
            <a:ext cx="5588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53463CA-918B-0D01-DCC2-91B0742B7525}"/>
              </a:ext>
            </a:extLst>
          </p:cNvPr>
          <p:cNvCxnSpPr>
            <a:cxnSpLocks/>
          </p:cNvCxnSpPr>
          <p:nvPr>
            <p:custDataLst>
              <p:tags r:id="rId116"/>
            </p:custDataLst>
          </p:nvPr>
        </p:nvCxnSpPr>
        <p:spPr bwMode="gray">
          <a:xfrm flipH="1" flipV="1">
            <a:off x="5294313" y="5424488"/>
            <a:ext cx="465138" cy="936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8" name="Szöveg helye 2">
            <a:extLst>
              <a:ext uri="{FF2B5EF4-FFF2-40B4-BE49-F238E27FC236}">
                <a16:creationId xmlns:a16="http://schemas.microsoft.com/office/drawing/2014/main" id="{759BD9C6-9C0C-8D1E-FC54-E962462FE00B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5759450" y="5518150"/>
            <a:ext cx="2524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C30C3E"/>
                </a:solidFill>
                <a:effectLst/>
                <a:latin typeface="Open Sauce One" panose="00000800000000000000"/>
              </a:rPr>
              <a:t>Today</a:t>
            </a:r>
            <a:endParaRPr lang="en-GB" sz="800" dirty="0">
              <a:solidFill>
                <a:srgbClr val="C30C3E"/>
              </a:solidFill>
              <a:latin typeface="Open Sauce One" panose="00000800000000000000"/>
            </a:endParaRPr>
          </a:p>
        </p:txBody>
      </p: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7931150" y="4370388"/>
            <a:ext cx="1374775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 &amp; Go Live decision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1041063" y="40274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879600" y="4027488"/>
            <a:ext cx="143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6B576-78AF-46EC-B1AE-D653276824B9}" type="datetime'Integr''ation I''''''mp''le''''me''''''nta''t''''''''i''on'''">
              <a:rPr lang="en-GB" altLang="en-US" sz="1000" smtClean="0"/>
              <a:pPr/>
              <a:t>Integration Implementation</a:t>
            </a:fld>
            <a:endParaRPr lang="en-GB" sz="1000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1041063" y="3713163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879600" y="3713163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11041063" y="34004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879600" y="340042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1041063" y="30861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879599" y="3086100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4995863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6062663" y="3116263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1041063" y="27733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1879599" y="2773363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5534025" y="2803525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11041063" y="24590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1879601" y="2459038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11041063" y="21463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1879600" y="2146300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11041063" y="43402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8777288" y="2176463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40"/>
            </p:custDataLst>
          </p:nvPr>
        </p:nvSpPr>
        <p:spPr bwMode="auto">
          <a:xfrm>
            <a:off x="11041063" y="49672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41"/>
            </p:custDataLst>
          </p:nvPr>
        </p:nvSpPr>
        <p:spPr bwMode="auto">
          <a:xfrm>
            <a:off x="1879600" y="4967288"/>
            <a:ext cx="1544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958F48-F834-4D1F-BBD4-E40A056ECA62}" type="datetime'W''a''''v''''e 1'',2,n (Co''''m''pC''''''ode ''xx-''xx'''''')'">
              <a:rPr lang="en-GB" altLang="en-US" sz="1000" smtClean="0"/>
              <a:pPr/>
              <a:t>Wave 1,2,n (CompCode xx-xx)</a:t>
            </a:fld>
            <a:endParaRPr lang="en-GB" sz="1000" dirty="0"/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42"/>
            </p:custDataLst>
          </p:nvPr>
        </p:nvSpPr>
        <p:spPr bwMode="auto">
          <a:xfrm>
            <a:off x="4595813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642" name="Szöveg helye 2">
            <a:extLst>
              <a:ext uri="{FF2B5EF4-FFF2-40B4-BE49-F238E27FC236}">
                <a16:creationId xmlns:a16="http://schemas.microsoft.com/office/drawing/2014/main" id="{6E1145F3-B7E9-588D-56CC-B94AB88810FD}"/>
              </a:ext>
            </a:extLst>
          </p:cNvPr>
          <p:cNvSpPr txBox="1">
            <a:spLocks/>
          </p:cNvSpPr>
          <p:nvPr>
            <p:custDataLst>
              <p:tags r:id="rId143"/>
            </p:custDataLst>
          </p:nvPr>
        </p:nvSpPr>
        <p:spPr bwMode="auto">
          <a:xfrm>
            <a:off x="8847138" y="4684713"/>
            <a:ext cx="1695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Hypercare Closing &amp; Handover  </a:t>
            </a:r>
            <a:r>
              <a:rPr lang="en-GB" altLang="en-US" sz="800" dirty="0" err="1">
                <a:effectLst/>
                <a:latin typeface="Open Sauce One" panose="00000800000000000000"/>
              </a:rPr>
              <a:t>Cus</a:t>
            </a:r>
            <a:r>
              <a:rPr lang="en-GB" altLang="en-US" sz="800" dirty="0">
                <a:effectLst/>
                <a:latin typeface="Open Sauce One" panose="00000800000000000000"/>
              </a:rPr>
              <a:t>. Care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44"/>
            </p:custDataLst>
          </p:nvPr>
        </p:nvSpPr>
        <p:spPr bwMode="auto">
          <a:xfrm>
            <a:off x="11041063" y="46545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145"/>
            </p:custDataLst>
          </p:nvPr>
        </p:nvSpPr>
        <p:spPr bwMode="auto">
          <a:xfrm>
            <a:off x="1879600" y="4654550"/>
            <a:ext cx="155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E83D3-57C2-4C12-8E7E-5EC366B36A95}" type="datetime'D''elive''''ry'' ''(G''o''L''ive &amp; Hy''p''er''c''''ar''''''e)'">
              <a:rPr lang="en-GB" altLang="en-US" sz="1000" smtClean="0"/>
              <a:pPr/>
              <a:t>Delivery (GoLive &amp; Hypercare)</a:t>
            </a:fld>
            <a:endParaRPr lang="en-GB" sz="1000" dirty="0"/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46"/>
            </p:custDataLst>
          </p:nvPr>
        </p:nvSpPr>
        <p:spPr bwMode="auto">
          <a:xfrm>
            <a:off x="4144963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47"/>
            </p:custDataLst>
          </p:nvPr>
        </p:nvSpPr>
        <p:spPr bwMode="auto">
          <a:xfrm>
            <a:off x="5359400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Func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148"/>
            </p:custDataLst>
          </p:nvPr>
        </p:nvSpPr>
        <p:spPr bwMode="auto">
          <a:xfrm>
            <a:off x="1879600" y="4340225"/>
            <a:ext cx="1255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73B407-4471-4B47-B3BD-8BC77DE52D90}" type="datetime'Test''ing ''(FT'' ''&amp;'''''''''' ''S''''IT'' &amp; UAT'''')'''''">
              <a:rPr lang="en-GB" altLang="en-US" sz="1000" smtClean="0"/>
              <a:pPr/>
              <a:t>Testing (FT &amp; SIT &amp; UAT)</a:t>
            </a:fld>
            <a:endParaRPr lang="en-GB" sz="1000" dirty="0"/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595408"/>
            <a:ext cx="1398385" cy="63540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3975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3"/>
            <a:ext cx="1397002" cy="6353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364548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CQEpDwYxgAFkfchHY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qCpYVbWtN6S4uaXgzPc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N.bJtQWFEtzT9L1tTL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cr6v82ilh2h1.qjQW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4pIoCHV.KJ8R103SOqt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jJTBjy70tCUyHeP2Fw3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J6nqMcOaZnnXG8YsVqD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pO7a_s0TLCFdjU.z81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8JFjt4McHblhld8RyM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.OxEcakLLbAapFMcK2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uHGnb3MCMuUeWzFPYc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q2KPyT.B31NH5LwVQi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JB6Af8K2l32C0dScA5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tBaCqBtj6cYOHdQps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uUSEbCPE7JrCi.wsw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EyXlVPpmGfeIgsXqw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709pa2tAvQ3Gw7oAC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.asAIAQ8I3AHzy5V4w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.GiKqc0Oxk0W_NB.Je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v2QG8bDmokBitxeNo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GiJQDD7ly9wT.3OXaB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Z8rdZid8_eGDSkaRyy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FCPeZz4F5S8zZNROpm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um3xWF48ZJnfXunWp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6lHKvejoPDiKDozCSO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HWBvJl5f5gjtcGHL2H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iT2J0RlHF7kcUMCBG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oFSN6epjEDBrhhgS2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ySGE9Iy5ZpJdy2jPLT0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5YkvpmssuyHxZwQo1z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sQDoNcOLsfjc7C0evq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zhatmu3gpxXL._WId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XWFsAFPNtnmuoW7Qn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3hX8Uo93VIRK6Xf5J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F_BokHoDIqI6BPx52h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G7zUsfrNsCHVFDMgon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GLoRRmAVtyj1u7lSl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TR4y60oYX6nNOA5Ub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P96hvC9aDXfR.q1ok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.oXtdwg8Y20BQqYKgy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2P0rhLjuTmKMiboQV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OzHjtFYeDoWWr3oUL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Khy2TpECmurpFG4aEE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Zcnz3WM0n.RmPN36f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7bYV9.VfMpBWTVpgxo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LE759UtL9lGzhv6Nu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JyWAj6oi3iQQIa.3QJ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jWQ.7ccEJ00QJPl8v9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.gZ.kVBROIqIzVgG5h4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FZyo5bXhsPa9ojZqD.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RMmRhmpnAKES.HXv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aYiF3sx9rCdLRvDLi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lyxhAAMncb1rl6YGH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LfHdV9c0vQOFcKDBJ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ynuDOwM.nyiECkqx1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73</TotalTime>
  <Words>648</Words>
  <Application>Microsoft Macintosh PowerPoint</Application>
  <PresentationFormat>Widescreen</PresentationFormat>
  <Paragraphs>223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February 2025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28</cp:revision>
  <dcterms:created xsi:type="dcterms:W3CDTF">2023-03-02T14:07:47Z</dcterms:created>
  <dcterms:modified xsi:type="dcterms:W3CDTF">2024-10-22T12:0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